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2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4549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38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38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38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59515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38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38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38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0.jpe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9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8.emf"/><Relationship Id="rId5" Type="http://schemas.openxmlformats.org/officeDocument/2006/relationships/tags" Target="../tags/tag27.xml"/><Relationship Id="rId15" Type="http://schemas.openxmlformats.org/officeDocument/2006/relationships/image" Target="../media/image12.jpeg"/><Relationship Id="rId10" Type="http://schemas.openxmlformats.org/officeDocument/2006/relationships/oleObject" Target="../embeddings/oleObject5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1665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New building materials company – we developed a go-to-market strategy and helped in ensuring a successful launch of the product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18064" y="2102585"/>
            <a:ext cx="2674938" cy="219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any working on a product variant proposed to be launched within the next 1 year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hich could make them of the first to be offering such a product in Asia-Pacific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any projected to capture market share of 9%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 the first year within the regions launched 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5041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New building materials player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starting off its business in Asia-Pacific and we were called in to create a winning Go-to-market strategy 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ement market in East India was one of the competitive with 10+ players both national and local 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Given the fragmentation in the market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we recognized bringing in right elements of </a:t>
            </a: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attacker strategy was key 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671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tailed Market Research insight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using the Rapid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MR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team and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ocial media analytic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helped us understand the strongholds of key competitors and devise strategy accordingly</a:t>
            </a: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Designed and conducted a need based segmentation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 to identify key elements of differentiation in product, marketing, incentive structure and in roll out strategy 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Implemented the go-to market strategy </a:t>
            </a:r>
            <a:r>
              <a:rPr lang="en-US" altLang="ja-JP" sz="1400" dirty="0">
                <a:solidFill>
                  <a:schemeClr val="folHlink"/>
                </a:solidFill>
                <a:ea typeface="MS PGothic" pitchFamily="34" charset="-128"/>
              </a:rPr>
              <a:t>working closely with client team to ensure a successful launch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909888" y="4558170"/>
            <a:ext cx="60642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Vikash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dirty="0" err="1">
                <a:ea typeface="MS PGothic" pitchFamily="34" charset="-128"/>
              </a:rPr>
              <a:t>Daga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4595813" y="4558170"/>
            <a:ext cx="110966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Kaustubh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dirty="0" err="1">
                <a:ea typeface="MS PGothic" pitchFamily="34" charset="-128"/>
              </a:rPr>
              <a:t>Chakraborthy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2909887" y="5394782"/>
            <a:ext cx="979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Harsh </a:t>
            </a:r>
            <a:r>
              <a:rPr lang="en-US" altLang="ja-JP" sz="1400" dirty="0" err="1">
                <a:ea typeface="MS PGothic" pitchFamily="34" charset="-128"/>
              </a:rPr>
              <a:t>Chapparia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4638675" y="5394782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Chandan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dirty="0" err="1">
                <a:ea typeface="MS PGothic" pitchFamily="34" charset="-128"/>
              </a:rPr>
              <a:t>Behera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</p:txBody>
      </p:sp>
      <p:sp>
        <p:nvSpPr>
          <p:cNvPr id="45" name="Rectangle 43"/>
          <p:cNvSpPr>
            <a:spLocks noChangeArrowheads="1"/>
          </p:cNvSpPr>
          <p:nvPr/>
        </p:nvSpPr>
        <p:spPr bwMode="gray">
          <a:xfrm>
            <a:off x="5830887" y="1577205"/>
            <a:ext cx="267493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uccessful launch in 3 states in Asia-Pacific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053" y="4532345"/>
            <a:ext cx="466969" cy="6226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604" y="5298963"/>
            <a:ext cx="551870" cy="7358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693" y="5312646"/>
            <a:ext cx="528058" cy="7040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681" y="4558169"/>
            <a:ext cx="567793" cy="596801"/>
          </a:xfrm>
          <a:prstGeom prst="rect">
            <a:avLst/>
          </a:prstGeom>
        </p:spPr>
      </p:pic>
      <p:sp>
        <p:nvSpPr>
          <p:cNvPr id="39" name="Rectangle 13">
            <a:extLst>
              <a:ext uri="{FF2B5EF4-FFF2-40B4-BE49-F238E27FC236}">
                <a16:creationId xmlns:a16="http://schemas.microsoft.com/office/drawing/2014/main" id="{B409FD2A-0AAB-C44D-8F1D-2B18CE30B8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</a:t>
            </a:r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Asia 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4CE5F47B-3BA3-B44C-872A-4ED76C68A2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2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CHA021_Developed a go-to-market strategy and helped in ensuring a successful launch of the product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3090</TotalTime>
  <Words>223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New building materials company – we developed a go-to-market strategy and helped in ensuring a successful launch of the produ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7</cp:revision>
  <cp:lastPrinted>2008-09-19T11:06:26Z</cp:lastPrinted>
  <dcterms:created xsi:type="dcterms:W3CDTF">2014-02-06T06:04:59Z</dcterms:created>
  <dcterms:modified xsi:type="dcterms:W3CDTF">2019-03-18T12:1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